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4" r:id="rId3"/>
    <p:sldId id="265" r:id="rId4"/>
    <p:sldId id="280" r:id="rId5"/>
    <p:sldId id="281" r:id="rId6"/>
    <p:sldId id="266" r:id="rId7"/>
    <p:sldId id="285" r:id="rId8"/>
    <p:sldId id="287" r:id="rId9"/>
    <p:sldId id="286" r:id="rId10"/>
    <p:sldId id="272" r:id="rId11"/>
    <p:sldId id="271" r:id="rId12"/>
    <p:sldId id="268" r:id="rId13"/>
    <p:sldId id="273" r:id="rId14"/>
    <p:sldId id="276" r:id="rId15"/>
    <p:sldId id="277" r:id="rId16"/>
    <p:sldId id="291" r:id="rId17"/>
    <p:sldId id="293" r:id="rId18"/>
    <p:sldId id="292" r:id="rId19"/>
    <p:sldId id="294" r:id="rId20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CDF45"/>
    <a:srgbClr val="8CD153"/>
    <a:srgbClr val="50AA1E"/>
    <a:srgbClr val="418A18"/>
    <a:srgbClr val="333300"/>
    <a:srgbClr val="A1C064"/>
    <a:srgbClr val="61CE2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140" autoAdjust="0"/>
    <p:restoredTop sz="94660"/>
  </p:normalViewPr>
  <p:slideViewPr>
    <p:cSldViewPr>
      <p:cViewPr varScale="1">
        <p:scale>
          <a:sx n="68" d="100"/>
          <a:sy n="68" d="100"/>
        </p:scale>
        <p:origin x="-144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0E14E-16F8-4E05-ACC0-FA7220C9758C}" type="datetimeFigureOut">
              <a:rPr lang="ru-RU" smtClean="0"/>
              <a:pPr/>
              <a:t>10.02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0E14E-16F8-4E05-ACC0-FA7220C9758C}" type="datetimeFigureOut">
              <a:rPr lang="ru-RU" smtClean="0"/>
              <a:pPr/>
              <a:t>10.02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0E14E-16F8-4E05-ACC0-FA7220C9758C}" type="datetimeFigureOut">
              <a:rPr lang="ru-RU" smtClean="0"/>
              <a:pPr/>
              <a:t>10.02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1289803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0E14E-16F8-4E05-ACC0-FA7220C9758C}" type="datetimeFigureOut">
              <a:rPr lang="ru-RU" smtClean="0"/>
              <a:pPr/>
              <a:t>10.02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0E14E-16F8-4E05-ACC0-FA7220C9758C}" type="datetimeFigureOut">
              <a:rPr lang="ru-RU" smtClean="0"/>
              <a:pPr/>
              <a:t>10.02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0E14E-16F8-4E05-ACC0-FA7220C9758C}" type="datetimeFigureOut">
              <a:rPr lang="ru-RU" smtClean="0"/>
              <a:pPr/>
              <a:t>10.02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0E14E-16F8-4E05-ACC0-FA7220C9758C}" type="datetimeFigureOut">
              <a:rPr lang="ru-RU" smtClean="0"/>
              <a:pPr/>
              <a:t>10.02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0E14E-16F8-4E05-ACC0-FA7220C9758C}" type="datetimeFigureOut">
              <a:rPr lang="ru-RU" smtClean="0"/>
              <a:pPr/>
              <a:t>10.02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0E14E-16F8-4E05-ACC0-FA7220C9758C}" type="datetimeFigureOut">
              <a:rPr lang="ru-RU" smtClean="0"/>
              <a:pPr/>
              <a:t>10.02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0E14E-16F8-4E05-ACC0-FA7220C9758C}" type="datetimeFigureOut">
              <a:rPr lang="ru-RU" smtClean="0"/>
              <a:pPr/>
              <a:t>10.02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0E14E-16F8-4E05-ACC0-FA7220C9758C}" type="datetimeFigureOut">
              <a:rPr lang="ru-RU" smtClean="0"/>
              <a:pPr/>
              <a:t>10.02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50E14E-16F8-4E05-ACC0-FA7220C9758C}" type="datetimeFigureOut">
              <a:rPr lang="ru-RU" smtClean="0"/>
              <a:pPr/>
              <a:t>10.02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hemeOverride" Target="../theme/themeOverride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60040" y="2130425"/>
            <a:ext cx="7772400" cy="1470025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418A18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Конкурс</a:t>
            </a:r>
            <a:br>
              <a:rPr lang="ru-RU" sz="2800" b="1" dirty="0" smtClean="0">
                <a:solidFill>
                  <a:srgbClr val="418A18"/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ru-RU" sz="2800" b="1" dirty="0" smtClean="0">
                <a:solidFill>
                  <a:srgbClr val="418A18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«Ежегодная общественная премия</a:t>
            </a:r>
            <a:br>
              <a:rPr lang="ru-RU" sz="2800" b="1" dirty="0" smtClean="0">
                <a:solidFill>
                  <a:srgbClr val="418A18"/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ru-RU" sz="2800" b="1" dirty="0" smtClean="0">
                <a:solidFill>
                  <a:srgbClr val="418A18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Регионы – устойчивое развитие»</a:t>
            </a:r>
            <a:endParaRPr lang="ru-RU" sz="2800" b="1" dirty="0">
              <a:solidFill>
                <a:srgbClr val="418A18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788024" y="5517232"/>
            <a:ext cx="4096544" cy="1080120"/>
          </a:xfrm>
        </p:spPr>
        <p:txBody>
          <a:bodyPr>
            <a:noAutofit/>
          </a:bodyPr>
          <a:lstStyle/>
          <a:p>
            <a:pPr algn="r"/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Оргкомитет Конкурса </a:t>
            </a: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«Ежегодная общественная премия «Регионы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– устойчивое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развитие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en-US" sz="13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51888" y="180434"/>
            <a:ext cx="5527055" cy="371206"/>
          </a:xfrm>
          <a:prstGeom prst="rect">
            <a:avLst/>
          </a:prstGeom>
          <a:noFill/>
        </p:spPr>
        <p:txBody>
          <a:bodyPr wrap="none" lIns="93296" tIns="46648" rIns="93296" bIns="46648" rtlCol="0">
            <a:spAutoFit/>
          </a:bodyPr>
          <a:lstStyle/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9. Стадия работы по Инвестиционным проектам №1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765582470"/>
              </p:ext>
            </p:extLst>
          </p:nvPr>
        </p:nvGraphicFramePr>
        <p:xfrm>
          <a:off x="142844" y="785794"/>
          <a:ext cx="8715436" cy="58970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0431"/>
                <a:gridCol w="5109589"/>
                <a:gridCol w="1360241"/>
                <a:gridCol w="1815175"/>
              </a:tblGrid>
              <a:tr h="492745">
                <a:tc>
                  <a:txBody>
                    <a:bodyPr/>
                    <a:lstStyle/>
                    <a:p>
                      <a:r>
                        <a:rPr lang="ru-RU" sz="13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300" b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рмирование Консолидированных Заявок от субъектов РФ согласно Схемы</a:t>
                      </a: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</a:t>
                      </a:r>
                      <a:r>
                        <a:rPr lang="ru-RU" sz="1300" b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300" b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3. по 30.05.</a:t>
                      </a:r>
                    </a:p>
                    <a:p>
                      <a:pPr algn="ctr"/>
                      <a:r>
                        <a:rPr lang="ru-RU" sz="13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9. по 30.10.</a:t>
                      </a:r>
                      <a:endParaRPr lang="ru-RU" sz="1300" b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</a:tr>
              <a:tr h="692922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доставление Консолидированных Заявок субъектов РФ,</a:t>
                      </a:r>
                      <a:r>
                        <a:rPr lang="ru-RU" sz="13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ключающих Заявки инвестиционных проектов 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 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05.2014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10.2014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</a:tr>
              <a:tr h="893099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на соответствие нормативно – правовым документам по выделению государственной поддержки (ФЗ-209 и нормативно – правовым документам субъектов РФ)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недельно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</a:tr>
              <a:tr h="692922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</a:t>
                      </a:r>
                      <a:r>
                        <a:rPr lang="ru-RU" sz="13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Экспертным советом (профильные научные институты / общероссийские общественные организации)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lang="ru-RU" sz="13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з / в месяц 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</a:tr>
              <a:tr h="49274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на соответствие финансовой сегментации (внешних экспертов по финансам)</a:t>
                      </a:r>
                    </a:p>
                    <a:p>
                      <a:pPr algn="l"/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раз / квартал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</a:tr>
              <a:tr h="680967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инвестиционными фондами (членами Попечительского совета) </a:t>
                      </a: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 дней с момента получения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</a:tr>
              <a:tr h="425028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внешним экспертом по финансам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 день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ней с момента получения</a:t>
                      </a:r>
                    </a:p>
                    <a:p>
                      <a:pPr algn="ctr"/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</a:tr>
              <a:tr h="374691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Попечительским</a:t>
                      </a:r>
                      <a:r>
                        <a:rPr lang="ru-RU" sz="13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ветом Конкурса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раз / квартал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</a:tr>
              <a:tr h="48477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ключение Инвестиционного</a:t>
                      </a:r>
                      <a:r>
                        <a:rPr lang="ru-RU" sz="13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глашения, с целью реализации проекта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стоянно</a:t>
                      </a:r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73585" y="108475"/>
            <a:ext cx="8646784" cy="648205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10. Процедура работы по проектам, поступающих в Оргкомитет Конкурса «Ежегодная общественная премия «Регионы – устойчивое развитие»</a:t>
            </a:r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468714946"/>
              </p:ext>
            </p:extLst>
          </p:nvPr>
        </p:nvGraphicFramePr>
        <p:xfrm>
          <a:off x="173585" y="1432026"/>
          <a:ext cx="8646783" cy="40169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523"/>
                <a:gridCol w="2130898"/>
                <a:gridCol w="998124"/>
                <a:gridCol w="5305238"/>
              </a:tblGrid>
              <a:tr h="378372"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8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80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80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</a:tr>
              <a:tr h="1212865"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адия работы по Инвестиционным проектам №1</a:t>
                      </a:r>
                    </a:p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момента поступлени</a:t>
                      </a:r>
                      <a:r>
                        <a:rPr lang="ru-RU" sz="18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я пакета документов в Оргкомитет по Схеме взаимодействия  до момента подписания Инвестиционного Соглашения по инвестиционному проекту</a:t>
                      </a:r>
                      <a:endParaRPr lang="ru-RU" sz="18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</a:tr>
              <a:tr h="1212865"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адия работы по Инвестиционным проектам №</a:t>
                      </a:r>
                      <a:r>
                        <a:rPr lang="en-US" sz="18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8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момента подписания</a:t>
                      </a:r>
                      <a:r>
                        <a:rPr lang="ru-RU" sz="18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нвестиционного соглашения по инвестиционному проекту до момента вынесения пакета документов по проекту на КПКИ ОАО «Сбербанка России» (пример)</a:t>
                      </a:r>
                    </a:p>
                  </a:txBody>
                  <a:tcPr marL="93303" marR="93303" marT="46649" marB="46649">
                    <a:noFill/>
                  </a:tcPr>
                </a:tc>
              </a:tr>
              <a:tr h="1212865"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адия работы по Инвестиционным проектам №3</a:t>
                      </a: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еализация инвестиционного проекта / выход на производственные показатели </a:t>
                      </a:r>
                      <a:endParaRPr lang="ru-RU" sz="18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79512" y="116632"/>
            <a:ext cx="8784976" cy="648205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11. Стадия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№1. Рассмотрение инвестиционных проектов / Заключение инвестиционного соглашения (4-х сторонний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23528" y="980728"/>
            <a:ext cx="1888722" cy="307777"/>
          </a:xfrm>
          <a:prstGeom prst="rect">
            <a:avLst/>
          </a:prstGeom>
          <a:noFill/>
          <a:ln w="19050">
            <a:solidFill>
              <a:srgbClr val="92D050"/>
            </a:solidFill>
          </a:ln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ициаторы проектов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1560" y="1484784"/>
            <a:ext cx="1584176" cy="523220"/>
          </a:xfrm>
          <a:prstGeom prst="rect">
            <a:avLst/>
          </a:prstGeom>
          <a:noFill/>
          <a:ln w="1905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гиональный </a:t>
            </a:r>
          </a:p>
          <a:p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ординатор </a:t>
            </a:r>
          </a:p>
        </p:txBody>
      </p:sp>
      <p:cxnSp>
        <p:nvCxnSpPr>
          <p:cNvPr id="9" name="Прямая со стрелкой 8"/>
          <p:cNvCxnSpPr/>
          <p:nvPr/>
        </p:nvCxnSpPr>
        <p:spPr>
          <a:xfrm>
            <a:off x="899592" y="1268760"/>
            <a:ext cx="88157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971600" y="2204864"/>
            <a:ext cx="1224136" cy="307777"/>
          </a:xfrm>
          <a:prstGeom prst="rect">
            <a:avLst/>
          </a:prstGeom>
          <a:noFill/>
          <a:ln w="1905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комитет</a:t>
            </a:r>
          </a:p>
        </p:txBody>
      </p:sp>
      <p:cxnSp>
        <p:nvCxnSpPr>
          <p:cNvPr id="11" name="Прямая со стрелкой 10"/>
          <p:cNvCxnSpPr/>
          <p:nvPr/>
        </p:nvCxnSpPr>
        <p:spPr>
          <a:xfrm>
            <a:off x="1187624" y="1988840"/>
            <a:ext cx="88157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187624" y="2636912"/>
            <a:ext cx="3024336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Сбор первичного пакета документов по Инициатору проекта по Схеме (до 14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 Проведение первичного анализа (до 14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Сбор пакета документов по проекту по Схеме (до 45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Формирование полного пакета документов для направления финансовым институтам для анализа в рамках Схемы (до 14 дней)</a:t>
            </a:r>
            <a:endParaRPr lang="ru-RU" sz="13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4" name="Прямая со стрелкой 13"/>
          <p:cNvCxnSpPr/>
          <p:nvPr/>
        </p:nvCxnSpPr>
        <p:spPr>
          <a:xfrm>
            <a:off x="1403648" y="2492896"/>
            <a:ext cx="88157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Стрелка вправо 14"/>
          <p:cNvSpPr/>
          <p:nvPr/>
        </p:nvSpPr>
        <p:spPr>
          <a:xfrm>
            <a:off x="4283968" y="3861048"/>
            <a:ext cx="648072" cy="288032"/>
          </a:xfrm>
          <a:prstGeom prst="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16"/>
          <p:cNvSpPr txBox="1"/>
          <p:nvPr/>
        </p:nvSpPr>
        <p:spPr>
          <a:xfrm>
            <a:off x="5004048" y="3573016"/>
            <a:ext cx="3816424" cy="692497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Инвесторам (членам Попечительского совета)</a:t>
            </a:r>
            <a:r>
              <a:rPr lang="en-US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- 14 </a:t>
            </a:r>
            <a:r>
              <a:rPr lang="ru-RU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</a:t>
            </a:r>
            <a:endParaRPr lang="ru-RU" sz="13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004048" y="4293096"/>
            <a:ext cx="3816424" cy="692497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внешнему эксперту по финансам (членам Попечительского совета)</a:t>
            </a:r>
            <a:r>
              <a:rPr lang="en-US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- </a:t>
            </a:r>
            <a:r>
              <a:rPr lang="ru-RU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21</a:t>
            </a:r>
            <a:r>
              <a:rPr lang="en-US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 (параллельно)</a:t>
            </a:r>
            <a:endParaRPr lang="ru-RU" sz="13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004048" y="5085184"/>
            <a:ext cx="3816424" cy="492443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субъектам РФ (господдержка) </a:t>
            </a:r>
            <a:r>
              <a:rPr lang="en-US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30</a:t>
            </a:r>
            <a:r>
              <a:rPr lang="en-US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 (параллельно)</a:t>
            </a:r>
            <a:endParaRPr lang="ru-RU" sz="13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000628" y="5715016"/>
            <a:ext cx="3816424" cy="492443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членам Попечительского совета</a:t>
            </a:r>
            <a:endParaRPr lang="ru-RU" sz="13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004048" y="6376972"/>
            <a:ext cx="3816424" cy="2923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sz="1300" b="1" u="sng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Подписание Инвестиционного соглашение</a:t>
            </a:r>
            <a:endParaRPr lang="ru-RU" sz="1300" b="1" u="sng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004048" y="980728"/>
            <a:ext cx="39604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ссмотрение инвестиционного проекта до  момента итогового решение (всеми участниками) занимает 3,5 месяца</a:t>
            </a:r>
            <a:endParaRPr lang="ru-RU" sz="16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980452906"/>
              </p:ext>
            </p:extLst>
          </p:nvPr>
        </p:nvGraphicFramePr>
        <p:xfrm>
          <a:off x="151889" y="878725"/>
          <a:ext cx="8809522" cy="52844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9720"/>
                <a:gridCol w="6410057"/>
                <a:gridCol w="2019745"/>
              </a:tblGrid>
              <a:tr h="378372"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</a:tr>
              <a:tr h="378372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дписание</a:t>
                      </a:r>
                      <a:r>
                        <a:rPr lang="ru-RU" sz="16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нвестиционного Соглашения</a:t>
                      </a:r>
                      <a:endParaRPr lang="ru-RU" sz="16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 rowSpan="7"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6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6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6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6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6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6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Этап 1 по ИС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</a:tr>
              <a:tr h="378372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проектно – сметной документации 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8372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крытие р/с в кредитующем отделении Банка,</a:t>
                      </a:r>
                      <a:r>
                        <a:rPr lang="ru-RU" sz="16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ссматривающего и готовившего Заключение по проекту в рамках Схемы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9973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сполнение отлагательных пунктов/ закрытие рисков по проекту в рамках исполнения предварительного решения внешнего</a:t>
                      </a:r>
                      <a:r>
                        <a:rPr lang="ru-RU" sz="16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эксперта по финансам  согласно Схемы (Координационный совет)</a:t>
                      </a:r>
                      <a:endParaRPr lang="ru-RU" sz="16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8372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лучение исходно – разрешительной документации по проекту</a:t>
                      </a:r>
                    </a:p>
                  </a:txBody>
                  <a:tcPr marL="93303" marR="93303" marT="46649" marB="46649"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9973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доставление документов в субъект РФ (стороне по ИС) на получения средств господдержки / включение в региональную программу на получение</a:t>
                      </a:r>
                      <a:r>
                        <a:rPr lang="ru-RU" sz="16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редств господдержки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97586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рмирование</a:t>
                      </a:r>
                      <a:r>
                        <a:rPr lang="ru-RU" sz="16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лного пакета документов по проекту для предоставление внешнему эксперту по финансам</a:t>
                      </a:r>
                      <a:endParaRPr lang="ru-RU" sz="16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8372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ктуализация</a:t>
                      </a:r>
                      <a:r>
                        <a:rPr lang="ru-RU" sz="16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нее принятого решения Банка / Уточнение Лимита по проекту / </a:t>
                      </a:r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чало</a:t>
                      </a:r>
                      <a:r>
                        <a:rPr lang="ru-RU" sz="16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МР по проекту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Этап 2</a:t>
                      </a:r>
                      <a:r>
                        <a:rPr lang="ru-RU" sz="16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 ИС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</a:tr>
              <a:tr h="378372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еализация проекта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Этап</a:t>
                      </a:r>
                      <a:r>
                        <a:rPr lang="ru-RU" sz="16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3 по ИС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>
                    <a:noFill/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79512" y="177474"/>
            <a:ext cx="8784976" cy="371206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12. Стадия №2. Реализация  инвестиционного проекта по Схеме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51888" y="180434"/>
            <a:ext cx="8740592" cy="371206"/>
          </a:xfrm>
          <a:prstGeom prst="rect">
            <a:avLst/>
          </a:prstGeom>
        </p:spPr>
        <p:txBody>
          <a:bodyPr vert="horz" lIns="91430" tIns="45716" rIns="91430" bIns="45716" rtlCol="0" anchor="ctr" anchorCtr="0">
            <a:noAutofit/>
          </a:bodyPr>
          <a:lstStyle>
            <a:lvl1pPr lvl="0">
              <a:spcBef>
                <a:spcPct val="0"/>
              </a:spcBef>
              <a:buNone/>
              <a:defRPr>
                <a:solidFill>
                  <a:srgbClr val="2E8000"/>
                </a:solidFill>
                <a:latin typeface="Times New Roman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ru-RU" dirty="0" smtClean="0">
                <a:solidFill>
                  <a:srgbClr val="418A18"/>
                </a:solidFill>
              </a:rPr>
              <a:t>13. </a:t>
            </a:r>
            <a:r>
              <a:rPr lang="ru-RU" dirty="0">
                <a:solidFill>
                  <a:srgbClr val="418A18"/>
                </a:solidFill>
              </a:rPr>
              <a:t>Механизмы финансирования инвестиционных </a:t>
            </a:r>
            <a:r>
              <a:rPr lang="ru-RU" dirty="0" smtClean="0">
                <a:solidFill>
                  <a:srgbClr val="418A18"/>
                </a:solidFill>
              </a:rPr>
              <a:t>проектов, поступающих на рассмотрение в Оргкомитет Конкурса «Ежегодная общественная премия «Регионы – устойчивое развитие»</a:t>
            </a:r>
            <a:endParaRPr lang="ru-RU" dirty="0">
              <a:solidFill>
                <a:srgbClr val="418A18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1087576"/>
            <a:ext cx="842493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u="sng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Механизмы финансирования инвестиционных проектов:  </a:t>
            </a:r>
          </a:p>
          <a:p>
            <a:endParaRPr lang="ru-RU" u="sng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Проектное финансирование </a:t>
            </a: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Инвестиционное финансирование </a:t>
            </a: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Концессия</a:t>
            </a:r>
          </a:p>
          <a:p>
            <a:pPr>
              <a:buFont typeface="Arial" pitchFamily="34" charset="0"/>
              <a:buChar char="•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 прочие механизмы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51520" y="3114834"/>
            <a:ext cx="842493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u="sng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адии рассмотрения проектов:</a:t>
            </a:r>
          </a:p>
          <a:p>
            <a:endParaRPr lang="ru-RU" u="sng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Проект «с нуля» (без наличия разработанной проектно  - сметной документации)</a:t>
            </a: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Проект с наличие только разрешительной документацией «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Brown field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Незавершенное производство</a:t>
            </a: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Модернизация производства</a:t>
            </a:r>
          </a:p>
          <a:p>
            <a:pPr>
              <a:buFont typeface="Arial" pitchFamily="34" charset="0"/>
              <a:buChar char="•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 прочие проект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51888" y="116632"/>
            <a:ext cx="8812600" cy="648205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14. Схема финансирования инвестиционных проектов (на базе проектного финансирования)</a:t>
            </a:r>
          </a:p>
        </p:txBody>
      </p:sp>
      <p:sp>
        <p:nvSpPr>
          <p:cNvPr id="3" name="Line 24"/>
          <p:cNvSpPr>
            <a:spLocks noChangeShapeType="1"/>
          </p:cNvSpPr>
          <p:nvPr/>
        </p:nvSpPr>
        <p:spPr bwMode="auto">
          <a:xfrm>
            <a:off x="5727700" y="1255734"/>
            <a:ext cx="0" cy="5040313"/>
          </a:xfrm>
          <a:prstGeom prst="line">
            <a:avLst/>
          </a:prstGeom>
          <a:noFill/>
          <a:ln w="31750">
            <a:solidFill>
              <a:srgbClr val="008000"/>
            </a:solidFill>
            <a:round/>
            <a:headEnd/>
            <a:tailEnd/>
          </a:ln>
        </p:spPr>
        <p:txBody>
          <a:bodyPr lIns="91409" tIns="45705" rIns="91409" bIns="45705"/>
          <a:lstStyle/>
          <a:p>
            <a:pPr algn="ctr"/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Rectangle 33"/>
          <p:cNvSpPr>
            <a:spLocks noChangeArrowheads="1"/>
          </p:cNvSpPr>
          <p:nvPr/>
        </p:nvSpPr>
        <p:spPr bwMode="auto">
          <a:xfrm>
            <a:off x="571500" y="3378222"/>
            <a:ext cx="1466850" cy="107950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4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редитор</a:t>
            </a:r>
          </a:p>
          <a:p>
            <a:pPr algn="ctr">
              <a:spcBef>
                <a:spcPct val="0"/>
              </a:spcBef>
            </a:pPr>
            <a:r>
              <a:rPr lang="en-US" sz="10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0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ожение до </a:t>
            </a:r>
            <a:r>
              <a:rPr lang="ru-RU" sz="10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0% </a:t>
            </a:r>
            <a:endParaRPr lang="en-US" sz="100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ct val="0"/>
              </a:spcBef>
            </a:pPr>
            <a:r>
              <a:rPr lang="ru-RU" sz="10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0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00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Rectangle 36"/>
          <p:cNvSpPr>
            <a:spLocks noChangeArrowheads="1"/>
          </p:cNvSpPr>
          <p:nvPr/>
        </p:nvSpPr>
        <p:spPr bwMode="auto">
          <a:xfrm>
            <a:off x="3994150" y="3389334"/>
            <a:ext cx="1422400" cy="91440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емщик</a:t>
            </a:r>
          </a:p>
          <a:p>
            <a:pPr algn="ctr"/>
            <a:r>
              <a:rPr lang="ru-RU" sz="14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sz="14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PV)</a:t>
            </a:r>
            <a:endParaRPr lang="ru-RU" sz="140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38"/>
          <p:cNvSpPr>
            <a:spLocks noChangeArrowheads="1"/>
          </p:cNvSpPr>
          <p:nvPr/>
        </p:nvSpPr>
        <p:spPr bwMode="auto">
          <a:xfrm>
            <a:off x="704850" y="1611334"/>
            <a:ext cx="1466850" cy="155575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ru-RU" sz="8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лог имущественных прав  на объекты (впоследствии готовые объекты), создаваемые в рамках инвестиционного проекта,  поручительства, векселя </a:t>
            </a:r>
            <a:r>
              <a:rPr lang="ru-RU" sz="8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анка-кредитора, залог </a:t>
            </a:r>
            <a:r>
              <a:rPr lang="ru-RU" sz="8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кций/долей в уставном капитале Заемщика, Инициатора проекта, Инвестора</a:t>
            </a:r>
            <a:endParaRPr lang="ru-RU" sz="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8" name="AutoShape 39"/>
          <p:cNvCxnSpPr>
            <a:cxnSpLocks noChangeShapeType="1"/>
            <a:stCxn id="6" idx="3"/>
          </p:cNvCxnSpPr>
          <p:nvPr/>
        </p:nvCxnSpPr>
        <p:spPr bwMode="auto">
          <a:xfrm flipH="1" flipV="1">
            <a:off x="2171700" y="2389209"/>
            <a:ext cx="3244850" cy="1457325"/>
          </a:xfrm>
          <a:prstGeom prst="bentConnector3">
            <a:avLst>
              <a:gd name="adj1" fmla="val -7046"/>
            </a:avLst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</p:cxnSp>
      <p:cxnSp>
        <p:nvCxnSpPr>
          <p:cNvPr id="9" name="AutoShape 40"/>
          <p:cNvCxnSpPr>
            <a:cxnSpLocks noChangeShapeType="1"/>
          </p:cNvCxnSpPr>
          <p:nvPr/>
        </p:nvCxnSpPr>
        <p:spPr bwMode="auto">
          <a:xfrm rot="10800000" flipV="1">
            <a:off x="571500" y="2389209"/>
            <a:ext cx="133350" cy="1466850"/>
          </a:xfrm>
          <a:prstGeom prst="bentConnector3">
            <a:avLst>
              <a:gd name="adj1" fmla="val 271431"/>
            </a:avLst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 type="triangle" w="med" len="med"/>
          </a:ln>
        </p:spPr>
      </p:cxnSp>
      <p:sp>
        <p:nvSpPr>
          <p:cNvPr id="10" name="Rectangle 36"/>
          <p:cNvSpPr>
            <a:spLocks noChangeArrowheads="1"/>
          </p:cNvSpPr>
          <p:nvPr/>
        </p:nvSpPr>
        <p:spPr bwMode="auto">
          <a:xfrm>
            <a:off x="2482850" y="1522434"/>
            <a:ext cx="1487488" cy="6667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0"/>
              </a:spcBef>
              <a:defRPr/>
            </a:pPr>
            <a:r>
              <a:rPr lang="ru-RU" sz="105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ициатор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ожение от 10% </a:t>
            </a:r>
            <a:endParaRPr lang="en-US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Rectangle 36"/>
          <p:cNvSpPr>
            <a:spLocks noChangeArrowheads="1"/>
          </p:cNvSpPr>
          <p:nvPr/>
        </p:nvSpPr>
        <p:spPr bwMode="auto">
          <a:xfrm>
            <a:off x="4171950" y="1522434"/>
            <a:ext cx="1487488" cy="6667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0"/>
              </a:spcBef>
              <a:defRPr/>
            </a:pPr>
            <a:r>
              <a:rPr lang="ru-RU" sz="105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ор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ожение до 30% </a:t>
            </a:r>
            <a:endParaRPr lang="en-US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Rectangle 36"/>
          <p:cNvSpPr>
            <a:spLocks noChangeArrowheads="1"/>
          </p:cNvSpPr>
          <p:nvPr/>
        </p:nvSpPr>
        <p:spPr bwMode="auto">
          <a:xfrm>
            <a:off x="2305050" y="5167334"/>
            <a:ext cx="1487488" cy="8699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хнический Заказчик</a:t>
            </a:r>
            <a:endParaRPr lang="ru-RU" sz="140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Rectangle 36"/>
          <p:cNvSpPr>
            <a:spLocks noChangeArrowheads="1"/>
          </p:cNvSpPr>
          <p:nvPr/>
        </p:nvSpPr>
        <p:spPr bwMode="auto">
          <a:xfrm>
            <a:off x="4038600" y="5167334"/>
            <a:ext cx="1487488" cy="8699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ициатор проекта</a:t>
            </a:r>
            <a:endParaRPr lang="ru-RU" sz="140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4" name="AutoShape 39"/>
          <p:cNvCxnSpPr>
            <a:cxnSpLocks noChangeShapeType="1"/>
            <a:stCxn id="10" idx="0"/>
          </p:cNvCxnSpPr>
          <p:nvPr/>
        </p:nvCxnSpPr>
        <p:spPr bwMode="auto">
          <a:xfrm rot="16200000" flipH="1" flipV="1">
            <a:off x="2288382" y="672327"/>
            <a:ext cx="88900" cy="1789113"/>
          </a:xfrm>
          <a:prstGeom prst="bentConnector3">
            <a:avLst>
              <a:gd name="adj1" fmla="val -257144"/>
            </a:avLst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</p:cxnSp>
      <p:cxnSp>
        <p:nvCxnSpPr>
          <p:cNvPr id="15" name="AutoShape 39"/>
          <p:cNvCxnSpPr>
            <a:cxnSpLocks noChangeShapeType="1"/>
            <a:stCxn id="11" idx="0"/>
          </p:cNvCxnSpPr>
          <p:nvPr/>
        </p:nvCxnSpPr>
        <p:spPr bwMode="auto">
          <a:xfrm rot="16200000" flipH="1" flipV="1">
            <a:off x="3132932" y="-172223"/>
            <a:ext cx="88900" cy="3478213"/>
          </a:xfrm>
          <a:prstGeom prst="bentConnector3">
            <a:avLst>
              <a:gd name="adj1" fmla="val -257144"/>
            </a:avLst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</p:cxnSp>
      <p:cxnSp>
        <p:nvCxnSpPr>
          <p:cNvPr id="16" name="Прямая со стрелкой 57"/>
          <p:cNvCxnSpPr>
            <a:cxnSpLocks noChangeShapeType="1"/>
            <a:stCxn id="6" idx="0"/>
            <a:endCxn id="6" idx="0"/>
          </p:cNvCxnSpPr>
          <p:nvPr/>
        </p:nvCxnSpPr>
        <p:spPr bwMode="auto">
          <a:xfrm rot="5400000" flipH="1" flipV="1">
            <a:off x="4705350" y="3389334"/>
            <a:ext cx="1588" cy="1588"/>
          </a:xfrm>
          <a:prstGeom prst="straightConnector1">
            <a:avLst/>
          </a:prstGeom>
          <a:noFill/>
          <a:ln w="12700" algn="ctr">
            <a:noFill/>
            <a:round/>
            <a:headEnd/>
            <a:tailEnd type="arrow" w="med" len="med"/>
          </a:ln>
        </p:spPr>
      </p:cxnSp>
      <p:cxnSp>
        <p:nvCxnSpPr>
          <p:cNvPr id="17" name="Прямая со стрелкой 60"/>
          <p:cNvCxnSpPr>
            <a:cxnSpLocks noChangeShapeType="1"/>
            <a:stCxn id="6" idx="2"/>
            <a:endCxn id="12" idx="0"/>
          </p:cNvCxnSpPr>
          <p:nvPr/>
        </p:nvCxnSpPr>
        <p:spPr bwMode="auto">
          <a:xfrm rot="5400000">
            <a:off x="3445669" y="3907653"/>
            <a:ext cx="863600" cy="1655762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triangle" w="med" len="lg"/>
            <a:tailEnd type="triangle" w="med" len="lg"/>
          </a:ln>
        </p:spPr>
      </p:cxnSp>
      <p:cxnSp>
        <p:nvCxnSpPr>
          <p:cNvPr id="18" name="Прямая со стрелкой 61"/>
          <p:cNvCxnSpPr>
            <a:cxnSpLocks noChangeShapeType="1"/>
          </p:cNvCxnSpPr>
          <p:nvPr/>
        </p:nvCxnSpPr>
        <p:spPr bwMode="auto">
          <a:xfrm rot="5400000">
            <a:off x="4286248" y="4714884"/>
            <a:ext cx="857256" cy="1588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triangle" w="med" len="lg"/>
            <a:tailEnd type="triangle" w="med" len="lg"/>
          </a:ln>
        </p:spPr>
      </p:cxnSp>
      <p:cxnSp>
        <p:nvCxnSpPr>
          <p:cNvPr id="19" name="Прямая со стрелкой 65"/>
          <p:cNvCxnSpPr>
            <a:cxnSpLocks noChangeShapeType="1"/>
            <a:stCxn id="10" idx="2"/>
            <a:endCxn id="6" idx="0"/>
          </p:cNvCxnSpPr>
          <p:nvPr/>
        </p:nvCxnSpPr>
        <p:spPr bwMode="auto">
          <a:xfrm rot="16200000" flipH="1">
            <a:off x="3366294" y="2050278"/>
            <a:ext cx="1200150" cy="1477962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med" len="lg"/>
            <a:tailEnd type="triangle" w="med" len="lg"/>
          </a:ln>
        </p:spPr>
      </p:cxnSp>
      <p:cxnSp>
        <p:nvCxnSpPr>
          <p:cNvPr id="20" name="Прямая со стрелкой 67"/>
          <p:cNvCxnSpPr>
            <a:cxnSpLocks noChangeShapeType="1"/>
            <a:endCxn id="6" idx="0"/>
          </p:cNvCxnSpPr>
          <p:nvPr/>
        </p:nvCxnSpPr>
        <p:spPr bwMode="auto">
          <a:xfrm rot="5400000">
            <a:off x="4122723" y="2797181"/>
            <a:ext cx="1174780" cy="9526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med" len="lg"/>
            <a:tailEnd type="triangle" w="med" len="lg"/>
          </a:ln>
        </p:spPr>
      </p:cxnSp>
      <p:cxnSp>
        <p:nvCxnSpPr>
          <p:cNvPr id="21" name="Прямая со стрелкой 69"/>
          <p:cNvCxnSpPr>
            <a:cxnSpLocks noChangeShapeType="1"/>
          </p:cNvCxnSpPr>
          <p:nvPr/>
        </p:nvCxnSpPr>
        <p:spPr bwMode="auto">
          <a:xfrm flipV="1">
            <a:off x="2038350" y="3611584"/>
            <a:ext cx="1955800" cy="9525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med" len="lg"/>
            <a:tailEnd type="triangle" w="med" len="lg"/>
          </a:ln>
        </p:spPr>
      </p:cxnSp>
      <p:cxnSp>
        <p:nvCxnSpPr>
          <p:cNvPr id="22" name="Прямая со стрелкой 113"/>
          <p:cNvCxnSpPr>
            <a:cxnSpLocks noChangeShapeType="1"/>
          </p:cNvCxnSpPr>
          <p:nvPr/>
        </p:nvCxnSpPr>
        <p:spPr bwMode="auto">
          <a:xfrm rot="10800000">
            <a:off x="2038350" y="4056084"/>
            <a:ext cx="1955800" cy="1588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med" len="lg"/>
            <a:tailEnd type="triangle" w="med" len="lg"/>
          </a:ln>
        </p:spPr>
      </p:cxnSp>
      <p:cxnSp>
        <p:nvCxnSpPr>
          <p:cNvPr id="23" name="Прямая со стрелкой 116"/>
          <p:cNvCxnSpPr>
            <a:cxnSpLocks noChangeShapeType="1"/>
          </p:cNvCxnSpPr>
          <p:nvPr/>
        </p:nvCxnSpPr>
        <p:spPr bwMode="auto">
          <a:xfrm rot="5400000" flipH="1" flipV="1">
            <a:off x="4443399" y="2760667"/>
            <a:ext cx="1246218" cy="11116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med" len="lg"/>
            <a:tailEnd type="triangle" w="med" len="lg"/>
          </a:ln>
        </p:spPr>
      </p:cxnSp>
      <p:sp>
        <p:nvSpPr>
          <p:cNvPr id="24" name="TextBox 121"/>
          <p:cNvSpPr txBox="1">
            <a:spLocks noChangeArrowheads="1"/>
          </p:cNvSpPr>
          <p:nvPr/>
        </p:nvSpPr>
        <p:spPr bwMode="auto">
          <a:xfrm>
            <a:off x="3779836" y="2559602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</a:p>
        </p:txBody>
      </p:sp>
      <p:sp>
        <p:nvSpPr>
          <p:cNvPr id="25" name="TextBox 122"/>
          <p:cNvSpPr txBox="1">
            <a:spLocks noChangeArrowheads="1"/>
          </p:cNvSpPr>
          <p:nvPr/>
        </p:nvSpPr>
        <p:spPr bwMode="auto">
          <a:xfrm>
            <a:off x="4357686" y="2571744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</a:p>
        </p:txBody>
      </p:sp>
      <p:sp>
        <p:nvSpPr>
          <p:cNvPr id="26" name="TextBox 123"/>
          <p:cNvSpPr txBox="1">
            <a:spLocks noChangeArrowheads="1"/>
          </p:cNvSpPr>
          <p:nvPr/>
        </p:nvSpPr>
        <p:spPr bwMode="auto">
          <a:xfrm>
            <a:off x="171450" y="3113109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</a:t>
            </a:r>
          </a:p>
        </p:txBody>
      </p:sp>
      <p:sp>
        <p:nvSpPr>
          <p:cNvPr id="27" name="TextBox 124"/>
          <p:cNvSpPr txBox="1">
            <a:spLocks noChangeArrowheads="1"/>
          </p:cNvSpPr>
          <p:nvPr/>
        </p:nvSpPr>
        <p:spPr bwMode="auto">
          <a:xfrm>
            <a:off x="2705100" y="3286124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</a:t>
            </a:r>
          </a:p>
        </p:txBody>
      </p:sp>
      <p:sp>
        <p:nvSpPr>
          <p:cNvPr id="28" name="TextBox 125"/>
          <p:cNvSpPr txBox="1">
            <a:spLocks noChangeArrowheads="1"/>
          </p:cNvSpPr>
          <p:nvPr/>
        </p:nvSpPr>
        <p:spPr bwMode="auto">
          <a:xfrm>
            <a:off x="3643306" y="4722834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6</a:t>
            </a:r>
          </a:p>
        </p:txBody>
      </p:sp>
      <p:sp>
        <p:nvSpPr>
          <p:cNvPr id="29" name="TextBox 126"/>
          <p:cNvSpPr txBox="1">
            <a:spLocks noChangeArrowheads="1"/>
          </p:cNvSpPr>
          <p:nvPr/>
        </p:nvSpPr>
        <p:spPr bwMode="auto">
          <a:xfrm>
            <a:off x="4565654" y="4678384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</a:t>
            </a:r>
          </a:p>
        </p:txBody>
      </p:sp>
      <p:sp>
        <p:nvSpPr>
          <p:cNvPr id="30" name="TextBox 127"/>
          <p:cNvSpPr txBox="1">
            <a:spLocks noChangeArrowheads="1"/>
          </p:cNvSpPr>
          <p:nvPr/>
        </p:nvSpPr>
        <p:spPr bwMode="auto">
          <a:xfrm>
            <a:off x="2705100" y="4056084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</a:t>
            </a:r>
          </a:p>
        </p:txBody>
      </p:sp>
      <p:sp>
        <p:nvSpPr>
          <p:cNvPr id="31" name="TextBox 128"/>
          <p:cNvSpPr txBox="1">
            <a:spLocks noChangeArrowheads="1"/>
          </p:cNvSpPr>
          <p:nvPr/>
        </p:nvSpPr>
        <p:spPr bwMode="auto">
          <a:xfrm>
            <a:off x="5137158" y="2722584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9</a:t>
            </a:r>
          </a:p>
        </p:txBody>
      </p:sp>
      <p:sp>
        <p:nvSpPr>
          <p:cNvPr id="32" name="Rectangle 36"/>
          <p:cNvSpPr>
            <a:spLocks noChangeArrowheads="1"/>
          </p:cNvSpPr>
          <p:nvPr/>
        </p:nvSpPr>
        <p:spPr bwMode="auto">
          <a:xfrm>
            <a:off x="2285984" y="2500306"/>
            <a:ext cx="1244600" cy="7810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яющая компания</a:t>
            </a:r>
          </a:p>
        </p:txBody>
      </p:sp>
      <p:sp>
        <p:nvSpPr>
          <p:cNvPr id="33" name="Rectangle 36"/>
          <p:cNvSpPr>
            <a:spLocks noChangeArrowheads="1"/>
          </p:cNvSpPr>
          <p:nvPr/>
        </p:nvSpPr>
        <p:spPr bwMode="auto">
          <a:xfrm>
            <a:off x="615950" y="5167334"/>
            <a:ext cx="1487488" cy="8699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раховая компания</a:t>
            </a:r>
          </a:p>
        </p:txBody>
      </p:sp>
      <p:cxnSp>
        <p:nvCxnSpPr>
          <p:cNvPr id="34" name="Прямая со стрелкой 60"/>
          <p:cNvCxnSpPr>
            <a:cxnSpLocks noChangeShapeType="1"/>
            <a:stCxn id="6" idx="2"/>
            <a:endCxn id="33" idx="0"/>
          </p:cNvCxnSpPr>
          <p:nvPr/>
        </p:nvCxnSpPr>
        <p:spPr bwMode="auto">
          <a:xfrm rot="5400000">
            <a:off x="2601119" y="3063103"/>
            <a:ext cx="863600" cy="3344862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triangle" w="med" len="lg"/>
            <a:tailEnd type="triangle" w="med" len="lg"/>
          </a:ln>
        </p:spPr>
      </p:cxnSp>
      <p:cxnSp>
        <p:nvCxnSpPr>
          <p:cNvPr id="35" name="Прямая со стрелкой 61"/>
          <p:cNvCxnSpPr>
            <a:cxnSpLocks noChangeShapeType="1"/>
            <a:stCxn id="32" idx="3"/>
          </p:cNvCxnSpPr>
          <p:nvPr/>
        </p:nvCxnSpPr>
        <p:spPr bwMode="auto">
          <a:xfrm>
            <a:off x="3530584" y="2890831"/>
            <a:ext cx="1066800" cy="498475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triangle" w="med" len="lg"/>
            <a:tailEnd type="triangle" w="med" len="lg"/>
          </a:ln>
        </p:spPr>
      </p:cxnSp>
      <p:sp>
        <p:nvSpPr>
          <p:cNvPr id="36" name="TextBox 125"/>
          <p:cNvSpPr txBox="1">
            <a:spLocks noChangeArrowheads="1"/>
          </p:cNvSpPr>
          <p:nvPr/>
        </p:nvSpPr>
        <p:spPr bwMode="auto">
          <a:xfrm>
            <a:off x="2393950" y="4545034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37" name="TextBox 123"/>
          <p:cNvSpPr txBox="1">
            <a:spLocks noChangeArrowheads="1"/>
          </p:cNvSpPr>
          <p:nvPr/>
        </p:nvSpPr>
        <p:spPr bwMode="auto">
          <a:xfrm>
            <a:off x="3571868" y="3009899"/>
            <a:ext cx="577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38" name="Rectangle 36"/>
          <p:cNvSpPr>
            <a:spLocks noChangeArrowheads="1"/>
          </p:cNvSpPr>
          <p:nvPr/>
        </p:nvSpPr>
        <p:spPr bwMode="auto">
          <a:xfrm>
            <a:off x="4000496" y="6286520"/>
            <a:ext cx="1487488" cy="35719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требители</a:t>
            </a:r>
          </a:p>
        </p:txBody>
      </p:sp>
      <p:cxnSp>
        <p:nvCxnSpPr>
          <p:cNvPr id="39" name="Прямая со стрелкой 61"/>
          <p:cNvCxnSpPr>
            <a:cxnSpLocks noChangeShapeType="1"/>
          </p:cNvCxnSpPr>
          <p:nvPr/>
        </p:nvCxnSpPr>
        <p:spPr bwMode="auto">
          <a:xfrm rot="5400000">
            <a:off x="4561370" y="6154274"/>
            <a:ext cx="308600" cy="1588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triangle" w="med" len="lg"/>
            <a:tailEnd type="triangle" w="med" len="lg"/>
          </a:ln>
        </p:spPr>
      </p:cxnSp>
      <p:sp>
        <p:nvSpPr>
          <p:cNvPr id="40" name="TextBox 126"/>
          <p:cNvSpPr txBox="1">
            <a:spLocks noChangeArrowheads="1"/>
          </p:cNvSpPr>
          <p:nvPr/>
        </p:nvSpPr>
        <p:spPr bwMode="auto">
          <a:xfrm>
            <a:off x="4714876" y="6000768"/>
            <a:ext cx="57785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 b="1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а</a:t>
            </a:r>
            <a:endParaRPr lang="ru-RU" sz="1600" b="1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Rectangle 27"/>
          <p:cNvSpPr>
            <a:spLocks noChangeArrowheads="1"/>
          </p:cNvSpPr>
          <p:nvPr/>
        </p:nvSpPr>
        <p:spPr bwMode="auto">
          <a:xfrm>
            <a:off x="5868144" y="1142984"/>
            <a:ext cx="3184556" cy="5500726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marL="193675" indent="-193675" algn="l">
              <a:lnSpc>
                <a:spcPct val="95000"/>
              </a:lnSpc>
              <a:buClrTx/>
              <a:buSzTx/>
              <a:buFont typeface="Wingdings" pitchFamily="2" charset="2"/>
              <a:buChar char="ü"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евое использование </a:t>
            </a:r>
            <a:r>
              <a:rPr lang="ru-RU" sz="1100" b="1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редитных </a:t>
            </a: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редств: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инансирование инвестиционного проекта</a:t>
            </a:r>
            <a:endParaRPr lang="ru-RU" sz="1100" b="1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l">
              <a:lnSpc>
                <a:spcPct val="95000"/>
              </a:lnSpc>
              <a:buClrTx/>
              <a:buSzTx/>
              <a:buFont typeface="Wingdings" pitchFamily="2" charset="2"/>
              <a:buChar char="ü"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точник возврата кредита: </a:t>
            </a:r>
            <a:r>
              <a:rPr lang="ru-RU" sz="11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чистая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быль и амортизационные начисления Заемщика</a:t>
            </a:r>
          </a:p>
          <a:p>
            <a:pPr marL="193675" indent="-193675" algn="l">
              <a:spcBef>
                <a:spcPct val="0"/>
              </a:spcBef>
              <a:buClrTx/>
              <a:buSzTx/>
              <a:buFont typeface="Wingdings" pitchFamily="2" charset="2"/>
              <a:buChar char="ü"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роприятия по проекту:</a:t>
            </a:r>
          </a:p>
          <a:p>
            <a:pPr marL="193675" indent="-193675" algn="l">
              <a:spcBef>
                <a:spcPct val="0"/>
              </a:spcBef>
              <a:buClrTx/>
              <a:buSzTx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чреждение компании-Заемщика Инициатором проекта и Инвестором и внесение своих долей участия</a:t>
            </a:r>
          </a:p>
          <a:p>
            <a:pPr marL="193675" indent="-193675" algn="l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ключение </a:t>
            </a:r>
            <a:r>
              <a:rPr lang="ru-RU" sz="11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договора управления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по которому УК обеспечивает:</a:t>
            </a:r>
          </a:p>
          <a:p>
            <a:pPr marL="88900" lvl="1" indent="-88900" algn="l">
              <a:spcBef>
                <a:spcPct val="0"/>
              </a:spcBef>
              <a:buClr>
                <a:srgbClr val="008A53"/>
              </a:buClr>
              <a:buFont typeface="Arial" pitchFamily="34" charset="0"/>
              <a:buChar char="•"/>
            </a:pP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ставление и ведение дорожной инвестиционной карты по проекту;</a:t>
            </a:r>
          </a:p>
          <a:p>
            <a:pPr marL="88900" lvl="1" indent="-88900" algn="l">
              <a:spcBef>
                <a:spcPct val="0"/>
              </a:spcBef>
              <a:buClr>
                <a:srgbClr val="008A53"/>
              </a:buClr>
              <a:buFont typeface="Arial" pitchFamily="34" charset="0"/>
              <a:buChar char="•"/>
            </a:pP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работка рынка сбыта, наполнение контрактной базы;</a:t>
            </a:r>
          </a:p>
          <a:p>
            <a:pPr marL="88900" lvl="1" indent="-88900" algn="l">
              <a:spcBef>
                <a:spcPct val="0"/>
              </a:spcBef>
              <a:buClr>
                <a:srgbClr val="008A53"/>
              </a:buClr>
              <a:buFont typeface="Arial" pitchFamily="34" charset="0"/>
              <a:buChar char="•"/>
            </a:pP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 выходе на точку безубыточности проекта – создание ЗПИФ и обеспечение привлечения сторонних инвесторов либо размещения облигаций проекта на рынок.</a:t>
            </a:r>
          </a:p>
          <a:p>
            <a:pPr marL="193675" indent="-193675" algn="l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ключение договора комплексного страхования</a:t>
            </a:r>
          </a:p>
          <a:p>
            <a:pPr marL="193675" indent="-193675" algn="l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оставление обеспечения Кредитору</a:t>
            </a:r>
          </a:p>
          <a:p>
            <a:pPr marL="193675" indent="-193675" algn="l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олучение кредита</a:t>
            </a:r>
          </a:p>
          <a:p>
            <a:pPr marL="193675" indent="-193675" algn="l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ru-RU" sz="11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еречисление средств за выполненные работы</a:t>
            </a:r>
          </a:p>
          <a:p>
            <a:pPr>
              <a:lnSpc>
                <a:spcPct val="95000"/>
              </a:lnSpc>
            </a:pPr>
            <a:r>
              <a:rPr lang="ru-RU" sz="1100" b="1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r>
              <a:rPr lang="ru-RU" sz="11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сдача объектов в аренду Инициатору и получение арендной платы (Источником арендной платы будет являться выручка от эксплуатации построенных в рамках проекта объектов, эффективность использования которых отражается в финансовом плане проекта)</a:t>
            </a:r>
          </a:p>
          <a:p>
            <a:pPr marL="193675" indent="-193675">
              <a:lnSpc>
                <a:spcPct val="95000"/>
              </a:lnSpc>
            </a:pP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7а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– эксплуатация объектов Инициатором</a:t>
            </a:r>
          </a:p>
          <a:p>
            <a:pPr marL="193675" indent="-193675" algn="l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r>
              <a:rPr lang="ru-RU" sz="1100" i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 погашение кредита</a:t>
            </a:r>
          </a:p>
          <a:p>
            <a:pPr marL="193675" indent="-193675" algn="l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9</a:t>
            </a:r>
            <a:r>
              <a:rPr lang="ru-RU" sz="110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выплаты для Инвестора (происходят только после полного погашения кредита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51888" y="116632"/>
            <a:ext cx="8812600" cy="648205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just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15. Схема финансирования инвестиционных проектов (на базе проектного финансирования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79512" y="1556792"/>
            <a:ext cx="2602667" cy="830997"/>
          </a:xfrm>
          <a:prstGeom prst="rect">
            <a:avLst/>
          </a:prstGeom>
          <a:solidFill>
            <a:srgbClr val="418A18"/>
          </a:solidFill>
          <a:ln>
            <a:solidFill>
              <a:srgbClr val="50AA1E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 проекта</a:t>
            </a:r>
            <a:endParaRPr lang="ru-RU" sz="2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635896" y="1556792"/>
            <a:ext cx="2592288" cy="830997"/>
          </a:xfrm>
          <a:prstGeom prst="rect">
            <a:avLst/>
          </a:prstGeom>
          <a:solidFill>
            <a:srgbClr val="418A18"/>
          </a:solidFill>
          <a:ln>
            <a:solidFill>
              <a:srgbClr val="50AA1E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вестор</a:t>
            </a:r>
          </a:p>
          <a:p>
            <a:pPr algn="ctr"/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инвестирование)</a:t>
            </a:r>
            <a:endParaRPr lang="ru-RU" sz="2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021228" y="3501008"/>
            <a:ext cx="1974708" cy="830997"/>
          </a:xfrm>
          <a:prstGeom prst="rect">
            <a:avLst/>
          </a:prstGeom>
          <a:solidFill>
            <a:srgbClr val="418A18"/>
          </a:solidFill>
          <a:ln>
            <a:solidFill>
              <a:srgbClr val="50AA1E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40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dirty="0"/>
              <a:t>Специальная </a:t>
            </a:r>
          </a:p>
          <a:p>
            <a:r>
              <a:rPr lang="ru-RU" dirty="0"/>
              <a:t>компания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95536" y="5334307"/>
            <a:ext cx="2613046" cy="1200329"/>
          </a:xfrm>
          <a:prstGeom prst="rect">
            <a:avLst/>
          </a:prstGeom>
          <a:solidFill>
            <a:srgbClr val="418A18"/>
          </a:solidFill>
          <a:ln>
            <a:solidFill>
              <a:srgbClr val="50AA1E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40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dirty="0" smtClean="0"/>
              <a:t>Банк </a:t>
            </a:r>
          </a:p>
          <a:p>
            <a:r>
              <a:rPr lang="ru-RU" dirty="0" smtClean="0"/>
              <a:t>(Долговое финансирование)</a:t>
            </a:r>
            <a:endParaRPr lang="ru-RU" dirty="0"/>
          </a:p>
        </p:txBody>
      </p:sp>
      <p:cxnSp>
        <p:nvCxnSpPr>
          <p:cNvPr id="11" name="Прямая со стрелкой 10"/>
          <p:cNvCxnSpPr/>
          <p:nvPr/>
        </p:nvCxnSpPr>
        <p:spPr>
          <a:xfrm>
            <a:off x="2342346" y="2636912"/>
            <a:ext cx="357446" cy="720080"/>
          </a:xfrm>
          <a:prstGeom prst="straightConnector1">
            <a:avLst/>
          </a:prstGeom>
          <a:ln>
            <a:solidFill>
              <a:srgbClr val="3333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 flipH="1">
            <a:off x="3602810" y="2636912"/>
            <a:ext cx="321118" cy="720080"/>
          </a:xfrm>
          <a:prstGeom prst="straightConnector1">
            <a:avLst/>
          </a:prstGeom>
          <a:ln>
            <a:solidFill>
              <a:srgbClr val="3333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>
          <a:xfrm flipV="1">
            <a:off x="2342346" y="4509120"/>
            <a:ext cx="357446" cy="648072"/>
          </a:xfrm>
          <a:prstGeom prst="straightConnector1">
            <a:avLst/>
          </a:prstGeom>
          <a:ln>
            <a:solidFill>
              <a:srgbClr val="3333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>
            <a:off x="4139952" y="3916506"/>
            <a:ext cx="864096" cy="0"/>
          </a:xfrm>
          <a:prstGeom prst="straightConnector1">
            <a:avLst/>
          </a:prstGeom>
          <a:ln>
            <a:solidFill>
              <a:srgbClr val="3333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5148064" y="3501008"/>
            <a:ext cx="1944216" cy="830997"/>
          </a:xfrm>
          <a:prstGeom prst="rect">
            <a:avLst/>
          </a:prstGeom>
          <a:solidFill>
            <a:srgbClr val="418A18"/>
          </a:solidFill>
          <a:ln>
            <a:solidFill>
              <a:srgbClr val="50AA1E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40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dirty="0" smtClean="0"/>
              <a:t>Технический заказчик</a:t>
            </a:r>
            <a:endParaRPr lang="ru-RU" dirty="0"/>
          </a:p>
        </p:txBody>
      </p:sp>
      <p:sp>
        <p:nvSpPr>
          <p:cNvPr id="29" name="TextBox 28"/>
          <p:cNvSpPr txBox="1"/>
          <p:nvPr/>
        </p:nvSpPr>
        <p:spPr>
          <a:xfrm>
            <a:off x="7236296" y="2636912"/>
            <a:ext cx="1728192" cy="707886"/>
          </a:xfrm>
          <a:prstGeom prst="rect">
            <a:avLst/>
          </a:prstGeom>
          <a:solidFill>
            <a:srgbClr val="418A18"/>
          </a:solidFill>
          <a:ln>
            <a:solidFill>
              <a:srgbClr val="50AA1E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40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sz="2000" dirty="0" err="1" smtClean="0"/>
              <a:t>Генеральныйподрядчик</a:t>
            </a:r>
            <a:endParaRPr lang="ru-RU" sz="2000" dirty="0"/>
          </a:p>
        </p:txBody>
      </p:sp>
      <p:sp>
        <p:nvSpPr>
          <p:cNvPr id="30" name="TextBox 29"/>
          <p:cNvSpPr txBox="1"/>
          <p:nvPr/>
        </p:nvSpPr>
        <p:spPr>
          <a:xfrm>
            <a:off x="7236296" y="3573016"/>
            <a:ext cx="1728192" cy="707886"/>
          </a:xfrm>
          <a:prstGeom prst="rect">
            <a:avLst/>
          </a:prstGeom>
          <a:solidFill>
            <a:srgbClr val="418A18"/>
          </a:solidFill>
          <a:ln>
            <a:solidFill>
              <a:srgbClr val="50AA1E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40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sz="2000" dirty="0" smtClean="0"/>
              <a:t>Поставщик</a:t>
            </a:r>
          </a:p>
          <a:p>
            <a:r>
              <a:rPr lang="ru-RU" sz="2000" dirty="0" smtClean="0"/>
              <a:t>оборудования</a:t>
            </a:r>
            <a:endParaRPr lang="ru-RU" sz="2000" dirty="0"/>
          </a:p>
        </p:txBody>
      </p:sp>
      <p:sp>
        <p:nvSpPr>
          <p:cNvPr id="31" name="TextBox 30"/>
          <p:cNvSpPr txBox="1"/>
          <p:nvPr/>
        </p:nvSpPr>
        <p:spPr>
          <a:xfrm>
            <a:off x="7236296" y="4449306"/>
            <a:ext cx="1728192" cy="1015663"/>
          </a:xfrm>
          <a:prstGeom prst="rect">
            <a:avLst/>
          </a:prstGeom>
          <a:solidFill>
            <a:srgbClr val="418A18"/>
          </a:solidFill>
          <a:ln>
            <a:solidFill>
              <a:srgbClr val="50AA1E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40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sz="2000" dirty="0" smtClean="0"/>
              <a:t>Прочие </a:t>
            </a:r>
          </a:p>
          <a:p>
            <a:r>
              <a:rPr lang="ru-RU" sz="2000" dirty="0" smtClean="0"/>
              <a:t>работы по проекту</a:t>
            </a:r>
            <a:endParaRPr lang="ru-RU" sz="2000" dirty="0"/>
          </a:p>
        </p:txBody>
      </p:sp>
      <p:sp>
        <p:nvSpPr>
          <p:cNvPr id="32" name="TextBox 31"/>
          <p:cNvSpPr txBox="1"/>
          <p:nvPr/>
        </p:nvSpPr>
        <p:spPr>
          <a:xfrm>
            <a:off x="179512" y="2420888"/>
            <a:ext cx="232531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Земельный актив</a:t>
            </a:r>
          </a:p>
          <a:p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бственные средства 10% </a:t>
            </a:r>
          </a:p>
          <a:p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нее понесенные затраты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039060" y="2492896"/>
            <a:ext cx="23041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вестиционные средства, </a:t>
            </a:r>
          </a:p>
          <a:p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не более  35%</a:t>
            </a:r>
          </a:p>
        </p:txBody>
      </p:sp>
      <p:sp>
        <p:nvSpPr>
          <p:cNvPr id="34" name="Правая фигурная скобка 33"/>
          <p:cNvSpPr/>
          <p:nvPr/>
        </p:nvSpPr>
        <p:spPr>
          <a:xfrm rot="5400000">
            <a:off x="1076390" y="2072450"/>
            <a:ext cx="341455" cy="219045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TextBox 34"/>
          <p:cNvSpPr txBox="1"/>
          <p:nvPr/>
        </p:nvSpPr>
        <p:spPr>
          <a:xfrm>
            <a:off x="588753" y="3356992"/>
            <a:ext cx="13189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Взнос в УК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Правая фигурная скобка 35"/>
          <p:cNvSpPr/>
          <p:nvPr/>
        </p:nvSpPr>
        <p:spPr>
          <a:xfrm rot="5400000">
            <a:off x="5114889" y="1743103"/>
            <a:ext cx="249704" cy="247849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TextBox 36"/>
          <p:cNvSpPr txBox="1"/>
          <p:nvPr/>
        </p:nvSpPr>
        <p:spPr>
          <a:xfrm>
            <a:off x="4429124" y="3000372"/>
            <a:ext cx="13189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Взнос в УК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80464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03058" y="2311201"/>
            <a:ext cx="1676654" cy="87716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7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Юридические лица, </a:t>
            </a:r>
          </a:p>
          <a:p>
            <a:pPr algn="ctr"/>
            <a:r>
              <a:rPr lang="ru-RU" sz="17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частные</a:t>
            </a:r>
            <a:endParaRPr lang="ru-RU" sz="17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3058" y="3619992"/>
            <a:ext cx="1676654" cy="87716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7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Юридические лица, </a:t>
            </a:r>
          </a:p>
          <a:p>
            <a:pPr algn="ctr"/>
            <a:r>
              <a:rPr lang="ru-RU" sz="17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 гос. участием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85720" y="4786322"/>
            <a:ext cx="1656629" cy="1923604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7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рпорации развития Субъектов РФ в качестве представления интересов субъектов РФ</a:t>
            </a:r>
            <a:endParaRPr lang="ru-RU" sz="17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150016" y="2311201"/>
            <a:ext cx="3419258" cy="35394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sz="1700" dirty="0">
                <a:solidFill>
                  <a:schemeClr val="accent1">
                    <a:lumMod val="75000"/>
                  </a:schemeClr>
                </a:solidFill>
              </a:rPr>
              <a:t>Создание новых производств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148651" y="2813447"/>
            <a:ext cx="3431461" cy="61555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sz="1700" dirty="0" smtClean="0">
                <a:solidFill>
                  <a:schemeClr val="accent1">
                    <a:lumMod val="75000"/>
                  </a:schemeClr>
                </a:solidFill>
              </a:rPr>
              <a:t>Расширение / Реконструкция действующих производств</a:t>
            </a:r>
            <a:endParaRPr lang="ru-RU" sz="17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123728" y="5877272"/>
            <a:ext cx="3456384" cy="877163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sz="1700" dirty="0" smtClean="0">
                <a:solidFill>
                  <a:schemeClr val="accent1">
                    <a:lumMod val="75000"/>
                  </a:schemeClr>
                </a:solidFill>
              </a:rPr>
              <a:t>Эффективное использование земельных участков субъектов РФ</a:t>
            </a:r>
          </a:p>
          <a:p>
            <a:endParaRPr lang="ru-RU" sz="17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138378" y="3619992"/>
            <a:ext cx="3430896" cy="61555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sz="1700" dirty="0" smtClean="0">
                <a:solidFill>
                  <a:schemeClr val="accent1">
                    <a:lumMod val="75000"/>
                  </a:schemeClr>
                </a:solidFill>
              </a:rPr>
              <a:t>Создание новых социально – значимых объектов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138376" y="4325615"/>
            <a:ext cx="3441736" cy="61555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sz="1700" dirty="0" smtClean="0">
                <a:solidFill>
                  <a:schemeClr val="accent1">
                    <a:lumMod val="75000"/>
                  </a:schemeClr>
                </a:solidFill>
              </a:rPr>
              <a:t>Расширение / Реконструкция социально – значимых объектов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138376" y="5117703"/>
            <a:ext cx="3441736" cy="61555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sz="1700" dirty="0" smtClean="0">
                <a:solidFill>
                  <a:schemeClr val="accent1">
                    <a:lumMod val="75000"/>
                  </a:schemeClr>
                </a:solidFill>
              </a:rPr>
              <a:t>Создание новых инфраструктурных объектов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03060" y="1196752"/>
            <a:ext cx="1676652" cy="923330"/>
          </a:xfrm>
          <a:prstGeom prst="rect">
            <a:avLst/>
          </a:prstGeom>
          <a:solidFill>
            <a:srgbClr val="418A18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 ПРОЕКТА</a:t>
            </a:r>
          </a:p>
          <a:p>
            <a:pPr algn="ctr"/>
            <a:endParaRPr lang="ru-R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150016" y="1196752"/>
            <a:ext cx="3419258" cy="923330"/>
          </a:xfrm>
          <a:prstGeom prst="rect">
            <a:avLst/>
          </a:prstGeom>
          <a:solidFill>
            <a:srgbClr val="418A18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dirty="0"/>
              <a:t>НАПРАВЛЕНИЯ ДЕЯТЕЛЬНОСТИ</a:t>
            </a:r>
          </a:p>
          <a:p>
            <a:endParaRPr lang="ru-RU" dirty="0"/>
          </a:p>
        </p:txBody>
      </p:sp>
      <p:sp>
        <p:nvSpPr>
          <p:cNvPr id="29" name="TextBox 28"/>
          <p:cNvSpPr txBox="1"/>
          <p:nvPr/>
        </p:nvSpPr>
        <p:spPr>
          <a:xfrm>
            <a:off x="5652120" y="1196752"/>
            <a:ext cx="1656184" cy="923330"/>
          </a:xfrm>
          <a:prstGeom prst="rect">
            <a:avLst/>
          </a:prstGeom>
          <a:solidFill>
            <a:srgbClr val="418A18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dirty="0"/>
              <a:t>ВНЕБЮДЖЕТ-НОЕ </a:t>
            </a:r>
          </a:p>
          <a:p>
            <a:r>
              <a:rPr lang="ru-RU" dirty="0"/>
              <a:t>ФИНАН-ИЕ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380312" y="1196752"/>
            <a:ext cx="1728192" cy="923330"/>
          </a:xfrm>
          <a:prstGeom prst="rect">
            <a:avLst/>
          </a:prstGeom>
          <a:solidFill>
            <a:srgbClr val="418A18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dirty="0"/>
              <a:t>ГОС </a:t>
            </a:r>
          </a:p>
          <a:p>
            <a:r>
              <a:rPr lang="ru-RU" dirty="0"/>
              <a:t>ПОДДЕРЖКА</a:t>
            </a:r>
          </a:p>
          <a:p>
            <a:endParaRPr lang="ru-RU" dirty="0"/>
          </a:p>
        </p:txBody>
      </p:sp>
      <p:sp>
        <p:nvSpPr>
          <p:cNvPr id="33" name="TextBox 32"/>
          <p:cNvSpPr txBox="1"/>
          <p:nvPr/>
        </p:nvSpPr>
        <p:spPr>
          <a:xfrm>
            <a:off x="7380312" y="2324308"/>
            <a:ext cx="1728192" cy="35394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700"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КОСВЕННАЯ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652120" y="2324307"/>
            <a:ext cx="1656184" cy="35394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700"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V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380312" y="2787025"/>
            <a:ext cx="1728192" cy="61555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700"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КОСВЕННАЯ</a:t>
            </a:r>
            <a:endParaRPr lang="en-US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652120" y="2787024"/>
            <a:ext cx="1656184" cy="61555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700"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V</a:t>
            </a:r>
          </a:p>
          <a:p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380312" y="3646874"/>
            <a:ext cx="1728192" cy="61555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700"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ПРЯМАЯ</a:t>
            </a:r>
          </a:p>
          <a:p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652120" y="3646873"/>
            <a:ext cx="1656184" cy="61555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700"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V</a:t>
            </a:r>
            <a:endParaRPr lang="ru-RU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380312" y="4325615"/>
            <a:ext cx="1728192" cy="61555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700"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ПРЯМАЯ</a:t>
            </a:r>
            <a:endParaRPr lang="en-US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652120" y="4325615"/>
            <a:ext cx="1656184" cy="61555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700"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V</a:t>
            </a:r>
          </a:p>
          <a:p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664671" y="5117702"/>
            <a:ext cx="1656184" cy="61555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700"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V</a:t>
            </a:r>
          </a:p>
          <a:p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380312" y="5117703"/>
            <a:ext cx="1728192" cy="61555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700"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ПРЯМАЯ</a:t>
            </a:r>
            <a:endParaRPr lang="en-US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677222" y="5877272"/>
            <a:ext cx="1656184" cy="87716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700"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V</a:t>
            </a:r>
            <a:endParaRPr lang="ru-RU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416316" y="5877271"/>
            <a:ext cx="1656184" cy="877163"/>
          </a:xfrm>
          <a:prstGeom prst="rect">
            <a:avLst/>
          </a:prstGeom>
          <a:noFill/>
          <a:ln>
            <a:solidFill>
              <a:schemeClr val="accent1">
                <a:alpha val="7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700"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Х</a:t>
            </a:r>
          </a:p>
          <a:p>
            <a:endParaRPr lang="en-US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51888" y="116632"/>
            <a:ext cx="8812600" cy="648205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just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16. Требования и условия к Инициаторам при финансировании проектов в рамках Схемы взаимодействия</a:t>
            </a:r>
          </a:p>
        </p:txBody>
      </p:sp>
    </p:spTree>
    <p:extLst>
      <p:ext uri="{BB962C8B-B14F-4D97-AF65-F5344CB8AC3E}">
        <p14:creationId xmlns="" xmlns:p14="http://schemas.microsoft.com/office/powerpoint/2010/main" val="1031929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51888" y="177474"/>
            <a:ext cx="8812600" cy="371206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just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17. Текущие результаты (работа по проектам)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38407813"/>
              </p:ext>
            </p:extLst>
          </p:nvPr>
        </p:nvGraphicFramePr>
        <p:xfrm>
          <a:off x="323528" y="1397000"/>
          <a:ext cx="8352928" cy="2565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56"/>
                <a:gridCol w="5064563"/>
                <a:gridCol w="2784309"/>
              </a:tblGrid>
              <a:tr h="370840"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ичество проектов,</a:t>
                      </a:r>
                      <a:r>
                        <a:rPr lang="ru-RU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находящихся на стадии реализации </a:t>
                      </a:r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2 шт.</a:t>
                      </a:r>
                      <a:endParaRPr lang="ru-RU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ичество Инвестиционной</a:t>
                      </a:r>
                      <a:r>
                        <a:rPr lang="ru-RU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глашений, находящихся на стадии согласования (подписанных до конца 2014 года)</a:t>
                      </a:r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4 шт.</a:t>
                      </a:r>
                      <a:endParaRPr lang="ru-RU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умма</a:t>
                      </a:r>
                      <a:r>
                        <a:rPr lang="ru-RU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роектов, находящихся на стадии реализации</a:t>
                      </a:r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4,3 млрд. рублей</a:t>
                      </a:r>
                      <a:endParaRPr lang="ru-RU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67545" y="4797152"/>
            <a:ext cx="80648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а база индустриальных парков субъектов РФ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новляется ежегодно / (2р./год)</a:t>
            </a:r>
          </a:p>
          <a:p>
            <a:pPr algn="just"/>
            <a:endParaRPr lang="ru-RU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а база нормативно – правовых актов субъектов РФ </a:t>
            </a:r>
          </a:p>
          <a:p>
            <a:pPr algn="just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выделении гос. поддержки (обновляется ежегодно / (2 р./ год)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86305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51888" y="177474"/>
            <a:ext cx="8812600" cy="371206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just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18. Обучающие семинары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51888" y="1230227"/>
            <a:ext cx="881260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чата работа по проведению цикла практических семинаров:</a:t>
            </a:r>
            <a:endParaRPr lang="en-US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еминар 1: «Правила заполнения Анкеты и предоставления документов» 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еминар 2: «Финансовая сегментация проектов, финансовые показатели. Правила составления инвестиционного плана»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еминар 3: «Риски по проектам. Правила решения отлагательных решений финансовых институтов»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еминар 4: «Составление и исполнение дорожных карт по исполнению Инвестиционных соглашений»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еминар 5: «Мониторинг исполнения Инвестиционных соглашений» 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ru-RU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endParaRPr lang="ru-RU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анизаторы Семинаров: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комитет Конкурса «Регионы – устойчивое развитие»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аны исполнительной власти субъектов РФ»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ru-RU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endParaRPr lang="ru-RU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еминары проводятся по согласованному плану с Органами исполнительной власти субъектов РФ. График семинаров размещен на сайте 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www. Infra-konkurs.ru  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29181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79512" y="1695286"/>
            <a:ext cx="8640960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Конкурс проводится на основании Поручения Правительства Российской Федерации от 10 августа 2011 года  № ДК-П9-5670  в целях повышения инвестиционной привлекательности регионов РФ и создания новых механизмов финансирования инвестиционных проектов 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Организаторы Конкурса «Регионы – устойчивое развития»  является:</a:t>
            </a:r>
            <a:endParaRPr lang="en-US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ОАО «Сбербанк России»</a:t>
            </a:r>
            <a:endParaRPr lang="en-US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О «Банк – ВТБ»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комитет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нкурса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– это коллегиальный орган, сформированный организаторами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нкурса,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в целях осуществления методического и технического обеспечения мероприятий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нкурса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07504" y="46365"/>
            <a:ext cx="86409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бщая информация о Конкурсе 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«Ежегодная общественная  Премия Регионы – устойчивое развитие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251520" y="1844824"/>
            <a:ext cx="8422584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Цели Конкурса: 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выявление и отбор на ранней стадии лучших инвестиционных проектов реального сектора экономики, в т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. ч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. успешно реализованных для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тиражирования,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в рамках программ развития региональных индустриальных парков и аналогичных инвестиционных площадок, стимулирование регионов, частных инвесторов и инициаторов к их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ализации,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 целью повышения как региональной инвестиционной конкурентоспособности и привлекательности, так и экономической безопасности страны в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ом;</a:t>
            </a:r>
          </a:p>
          <a:p>
            <a:pPr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выработка предложений,  способствующих повышению инвестиционной привлекательности проектов, реализация которых возможна при государственной поддержке.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3528" y="188640"/>
            <a:ext cx="5472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Цели Конкурса </a:t>
            </a:r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79513" y="868669"/>
            <a:ext cx="8784976" cy="5847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7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Задачи Оргкомитета:  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зработка финансовых механизмов для реализации проектов в различных отраслях реального сектора экономики;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ru-RU" sz="17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бор </a:t>
            </a: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 систематизация региональных проектов и программ регионов;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ru-RU" sz="17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руктурирование </a:t>
            </a: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ектов с участием сторонних </a:t>
            </a:r>
            <a:r>
              <a:rPr lang="ru-RU" sz="17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экспертов, </a:t>
            </a: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 целью повышения инвестиционной привлекательности инвестиционных проектов;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бор инвесторов для реализации отобранных в рамках </a:t>
            </a:r>
            <a:r>
              <a:rPr lang="ru-RU" sz="17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нкурса </a:t>
            </a: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ектов;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ие и внедрение оптимизированной системы прохождения инвестиционной Заявки в отобранных финансовых </a:t>
            </a:r>
            <a:r>
              <a:rPr lang="ru-RU" sz="17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ститутах, </a:t>
            </a: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 целью сокращение сроков по ее рассмотрению;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ие «Библиотеки решений» для дальнейшего </a:t>
            </a:r>
            <a:r>
              <a:rPr lang="ru-RU" sz="17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тиражирования</a:t>
            </a: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мплектование инвестиционных площадок (индустриальных парков) проектами, обеспечивающих внутреннюю кооперацию, при сохранении независимости каждого субъекта хозяйственной деятельности;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ru-RU" sz="17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ие конкуренции между субъектами РФ в рамках вопроса по повышению инвестиционной привлекательности субъектов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79512" y="188640"/>
            <a:ext cx="5472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en-US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Задачи Оргкомитета </a:t>
            </a:r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08814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79512" y="188640"/>
            <a:ext cx="5472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r>
              <a:rPr lang="en-US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Функции Оргкомитета </a:t>
            </a:r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98092893"/>
              </p:ext>
            </p:extLst>
          </p:nvPr>
        </p:nvGraphicFramePr>
        <p:xfrm>
          <a:off x="179512" y="836712"/>
          <a:ext cx="8568952" cy="5882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2048"/>
                <a:gridCol w="8136904"/>
              </a:tblGrid>
              <a:tr h="370840">
                <a:tc>
                  <a:txBody>
                    <a:bodyPr/>
                    <a:lstStyle/>
                    <a:p>
                      <a:pPr algn="just"/>
                      <a:endParaRPr lang="ru-RU" sz="17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70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7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FontTx/>
                        <a:buNone/>
                      </a:pPr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бор проектов от Инициаторов и Консолидированных Заявок</a:t>
                      </a:r>
                      <a:r>
                        <a:rPr lang="ru-RU" sz="17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т </a:t>
                      </a:r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убъектов РФ;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7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истематизация проектов и программ;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7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ведение первичного анализа проектов, представленных на рассмотрение в Оргкомитет;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lang="ru-RU" sz="17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лучение экспертных заключений по возможности реализации проекта в данной отрасли промышленности;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lang="ru-RU" sz="17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ведение финансовой, юридической и технологической экспертизы проекта;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17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лучение заключений от федеральных органов исполнительной власти о целесообразности реализации инвестиционного проекта;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lang="ru-RU" sz="17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руктурирование проекта;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lang="ru-RU" sz="17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доставление структурированных проектов на рассмотрение рабочим органам конкурса и финансовым институтам;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lang="ru-RU" sz="17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нтроль за включением проекта в региональные программы субъекта РФ с целью получения средств государственной поддержки;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lang="ru-RU" sz="17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еспечение контроля за целевым использованием денежных средств, выделенных на реализацию проекта (</a:t>
                      </a:r>
                      <a:r>
                        <a:rPr lang="ru-RU" sz="1700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в</a:t>
                      </a:r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);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lang="ru-RU" sz="17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ониторинг реализации проектов и программ.</a:t>
                      </a: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397001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260648"/>
            <a:ext cx="24253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en-US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труктура Конкурса</a:t>
            </a:r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3528" y="1316668"/>
            <a:ext cx="3600400" cy="923330"/>
          </a:xfrm>
          <a:prstGeom prst="rect">
            <a:avLst/>
          </a:prstGeom>
          <a:noFill/>
          <a:ln w="6350"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печительский совет Конкурса  «Ежегодная общественная премия</a:t>
            </a:r>
          </a:p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«Регионы – устойчивое развитие» </a:t>
            </a:r>
            <a:endParaRPr lang="en-US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3528" y="2348880"/>
            <a:ext cx="3600400" cy="923330"/>
          </a:xfrm>
          <a:prstGeom prst="rect">
            <a:avLst/>
          </a:prstGeom>
          <a:noFill/>
          <a:ln w="6350"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комитет Конкурса </a:t>
            </a:r>
          </a:p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« Ежегодная общественная премия «Регионы – устойчивое развитие»</a:t>
            </a:r>
            <a:endParaRPr lang="en-US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528" y="3356992"/>
            <a:ext cx="3600400" cy="923330"/>
          </a:xfrm>
          <a:prstGeom prst="rect">
            <a:avLst/>
          </a:prstGeom>
          <a:noFill/>
          <a:ln w="6350"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Экспертный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вет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нкурса «Ежегодная общественная премия</a:t>
            </a:r>
          </a:p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«Регионы – устойчивое развитие»</a:t>
            </a:r>
            <a:endParaRPr lang="en-US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509077338"/>
              </p:ext>
            </p:extLst>
          </p:nvPr>
        </p:nvGraphicFramePr>
        <p:xfrm>
          <a:off x="395536" y="1491456"/>
          <a:ext cx="8568952" cy="4241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9351"/>
                <a:gridCol w="4062866"/>
                <a:gridCol w="2363848"/>
                <a:gridCol w="1772887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ребования </a:t>
                      </a:r>
                    </a:p>
                    <a:p>
                      <a:pPr algn="ctr"/>
                      <a:r>
                        <a:rPr lang="ru-RU" sz="16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 проектам</a:t>
                      </a:r>
                      <a:endParaRPr lang="ru-RU" sz="16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 проектам </a:t>
                      </a:r>
                    </a:p>
                    <a:p>
                      <a:pPr algn="ctr"/>
                      <a:r>
                        <a:rPr lang="ru-RU" sz="16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нкурса</a:t>
                      </a:r>
                      <a:endParaRPr lang="ru-RU" sz="16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чие стандартные условия банков</a:t>
                      </a:r>
                      <a:endParaRPr lang="ru-RU" sz="16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 исходно-разрешительной</a:t>
                      </a:r>
                      <a:r>
                        <a:rPr lang="ru-RU" sz="1600" b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окументации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</a:t>
                      </a:r>
                      <a:endParaRPr lang="ru-RU" sz="1600" b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 проектно-сметной документации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</a:t>
                      </a:r>
                      <a:endParaRPr lang="ru-RU" sz="1600" b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</a:t>
                      </a:r>
                      <a:r>
                        <a:rPr lang="ru-RU" sz="1600" b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земельного участка для реализации проекта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в случае возможности размещения проекта на территории индустриального парка)</a:t>
                      </a:r>
                      <a:endParaRPr lang="ru-RU" sz="1600" b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ребование к наличию собственных средств от Инициатора проекта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%</a:t>
                      </a:r>
                      <a:endParaRPr lang="ru-RU" sz="1600" b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%</a:t>
                      </a:r>
                      <a:endParaRPr lang="ru-RU" sz="1600" b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астие проекта в региональной программе для получения государственной поддержки</a:t>
                      </a:r>
                      <a:endParaRPr lang="ru-RU" sz="16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А</a:t>
                      </a:r>
                      <a:endParaRPr lang="ru-RU" sz="1600" b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b="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b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Т</a:t>
                      </a:r>
                      <a:endParaRPr lang="ru-RU" sz="1600" b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79512" y="116632"/>
            <a:ext cx="8568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r>
              <a:rPr lang="en-US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еимущества реализации проектов в рамках механизма Конкурса «Ежегодная общественная премия «Регионы – устойчивое развитие»</a:t>
            </a:r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32384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62738" y="191282"/>
            <a:ext cx="8087115" cy="371206"/>
          </a:xfrm>
          <a:prstGeom prst="rect">
            <a:avLst/>
          </a:prstGeom>
          <a:noFill/>
        </p:spPr>
        <p:txBody>
          <a:bodyPr wrap="none" lIns="93296" tIns="46648" rIns="93296" bIns="46648" rtlCol="0">
            <a:spAutoFit/>
          </a:bodyPr>
          <a:lstStyle/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7. Опыт работы Оргкомитета с федеральными органами исполнительной власти </a:t>
            </a:r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7504" y="908720"/>
            <a:ext cx="87849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комитет конкурса с 30.01.2013 года являлся рабочим органом  Рабочей группы по повышению инвестиционной привлекательности регионов РФ (</a:t>
            </a:r>
            <a:r>
              <a:rPr lang="ru-RU" u="sng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инистерство регионального развития РФ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), с целью создания нормативно – правовых документов: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367237798"/>
              </p:ext>
            </p:extLst>
          </p:nvPr>
        </p:nvGraphicFramePr>
        <p:xfrm>
          <a:off x="179512" y="1772816"/>
          <a:ext cx="8568952" cy="4759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8485"/>
                <a:gridCol w="1657739"/>
                <a:gridCol w="2016224"/>
                <a:gridCol w="2037226"/>
                <a:gridCol w="2499278"/>
              </a:tblGrid>
              <a:tr h="164520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4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ормативно</a:t>
                      </a:r>
                      <a:r>
                        <a:rPr lang="ru-RU" sz="14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– правовые документы</a:t>
                      </a:r>
                      <a:endParaRPr lang="ru-RU" sz="14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каз</a:t>
                      </a:r>
                      <a:r>
                        <a:rPr lang="ru-RU" sz="14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№ 30 от 30.01.2013 года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О создании рабочей группы»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ргкомитет рабочей орган Рабочей группы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 gridSpan="5">
                  <a:txBody>
                    <a:bodyPr/>
                    <a:lstStyle/>
                    <a:p>
                      <a:pPr algn="ctr"/>
                      <a:r>
                        <a:rPr lang="ru-RU" sz="1400" u="sng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ЕЗУЛЬТАТЫ РАБОТЫ РАБОЧЕЙ ГРУППЫ</a:t>
                      </a:r>
                      <a:endParaRPr lang="ru-RU" sz="1400" u="sng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ана и Утверждена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Схема взаимодействия при реализации</a:t>
                      </a:r>
                      <a:r>
                        <a:rPr lang="ru-RU" sz="14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нвестиционных проектов с господдержкой / госучастием»</a:t>
                      </a:r>
                      <a:endParaRPr lang="ru-RU" sz="14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endParaRPr lang="ru-RU" sz="14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endParaRPr lang="ru-RU" sz="14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endParaRPr lang="ru-RU" sz="14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endParaRPr lang="ru-RU" sz="14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каз</a:t>
                      </a:r>
                      <a:r>
                        <a:rPr lang="ru-RU" sz="14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№ 146 от 16.05.2014 года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ан</a:t>
                      </a:r>
                      <a:r>
                        <a:rPr lang="ru-RU" sz="14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 утверждена 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рма Инвестиционного соглашения (4-х сторонний)</a:t>
                      </a:r>
                      <a:r>
                        <a:rPr lang="ru-RU" sz="14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i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Банк, Инвестор, Субъект РФ, Инициатор проекта)</a:t>
                      </a:r>
                      <a:endParaRPr lang="ru-RU" sz="1400" i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ана</a:t>
                      </a:r>
                      <a:r>
                        <a:rPr lang="ru-RU" sz="14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 утверждена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истема мониторинга</a:t>
                      </a:r>
                      <a:r>
                        <a:rPr lang="ru-RU" sz="14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сполнения Инвестиционного соглашений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аны и утверждены в Банках с гос. участием в Уставном Капитале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собые условия финансирования проектов с господдержкой / госучастием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93407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62738" y="44624"/>
            <a:ext cx="8729742" cy="648205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. Схема взаимодействия при реализации инвестиционных проектов с гос. поддержкой / гос. участием</a:t>
            </a:r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933212" y="4937517"/>
            <a:ext cx="2783528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ициатор </a:t>
            </a:r>
          </a:p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екта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75856" y="1412776"/>
            <a:ext cx="2783528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ан Исполнительной власти субъекта РФ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19672" y="4942909"/>
            <a:ext cx="2783528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Федеральный орган Исполнительной власти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24976" y="2492896"/>
            <a:ext cx="2423488" cy="175432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вестор </a:t>
            </a:r>
          </a:p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(с гос. участием в УК) / частный инвестор (члены Попечительского совета ОК)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39552" y="2492896"/>
            <a:ext cx="2423488" cy="175432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Банки с гос. участием в УК / частные Банки (члены Попечительского совета / Организаторы Конкурса)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3563888" y="2492896"/>
            <a:ext cx="2160240" cy="1754326"/>
          </a:xfrm>
          <a:prstGeom prst="ellipse">
            <a:avLst/>
          </a:prstGeom>
          <a:solidFill>
            <a:srgbClr val="A1C064"/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Оргкомитет Конкурса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7" name="Прямая со стрелкой 16"/>
          <p:cNvCxnSpPr>
            <a:stCxn id="10" idx="0"/>
            <a:endCxn id="7" idx="1"/>
          </p:cNvCxnSpPr>
          <p:nvPr/>
        </p:nvCxnSpPr>
        <p:spPr>
          <a:xfrm flipV="1">
            <a:off x="1751296" y="1735942"/>
            <a:ext cx="1524560" cy="756954"/>
          </a:xfrm>
          <a:prstGeom prst="straightConnector1">
            <a:avLst/>
          </a:prstGeom>
          <a:ln w="15875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>
            <a:stCxn id="10" idx="2"/>
            <a:endCxn id="8" idx="0"/>
          </p:cNvCxnSpPr>
          <p:nvPr/>
        </p:nvCxnSpPr>
        <p:spPr>
          <a:xfrm>
            <a:off x="1751296" y="4247222"/>
            <a:ext cx="1260140" cy="695687"/>
          </a:xfrm>
          <a:prstGeom prst="straightConnector1">
            <a:avLst/>
          </a:prstGeom>
          <a:ln w="15875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stCxn id="8" idx="3"/>
            <a:endCxn id="6" idx="1"/>
          </p:cNvCxnSpPr>
          <p:nvPr/>
        </p:nvCxnSpPr>
        <p:spPr>
          <a:xfrm flipV="1">
            <a:off x="4403200" y="5260683"/>
            <a:ext cx="530012" cy="5392"/>
          </a:xfrm>
          <a:prstGeom prst="straightConnector1">
            <a:avLst/>
          </a:prstGeom>
          <a:ln w="15875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>
            <a:stCxn id="6" idx="0"/>
            <a:endCxn id="9" idx="2"/>
          </p:cNvCxnSpPr>
          <p:nvPr/>
        </p:nvCxnSpPr>
        <p:spPr>
          <a:xfrm flipV="1">
            <a:off x="6324976" y="4247222"/>
            <a:ext cx="1211744" cy="690295"/>
          </a:xfrm>
          <a:prstGeom prst="straightConnector1">
            <a:avLst/>
          </a:prstGeom>
          <a:ln w="15875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stCxn id="7" idx="3"/>
            <a:endCxn id="9" idx="0"/>
          </p:cNvCxnSpPr>
          <p:nvPr/>
        </p:nvCxnSpPr>
        <p:spPr>
          <a:xfrm>
            <a:off x="6059384" y="1735942"/>
            <a:ext cx="1477336" cy="756954"/>
          </a:xfrm>
          <a:prstGeom prst="straightConnector1">
            <a:avLst/>
          </a:prstGeom>
          <a:ln w="15875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stCxn id="7" idx="2"/>
            <a:endCxn id="11" idx="0"/>
          </p:cNvCxnSpPr>
          <p:nvPr/>
        </p:nvCxnSpPr>
        <p:spPr>
          <a:xfrm flipH="1">
            <a:off x="4644008" y="2059107"/>
            <a:ext cx="23612" cy="433789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>
            <a:stCxn id="11" idx="6"/>
            <a:endCxn id="9" idx="1"/>
          </p:cNvCxnSpPr>
          <p:nvPr/>
        </p:nvCxnSpPr>
        <p:spPr>
          <a:xfrm>
            <a:off x="5724128" y="3370059"/>
            <a:ext cx="600848" cy="0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>
            <a:stCxn id="11" idx="5"/>
            <a:endCxn id="6" idx="0"/>
          </p:cNvCxnSpPr>
          <p:nvPr/>
        </p:nvCxnSpPr>
        <p:spPr>
          <a:xfrm>
            <a:off x="5407768" y="3990307"/>
            <a:ext cx="917208" cy="947210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stCxn id="11" idx="3"/>
            <a:endCxn id="8" idx="0"/>
          </p:cNvCxnSpPr>
          <p:nvPr/>
        </p:nvCxnSpPr>
        <p:spPr>
          <a:xfrm flipH="1">
            <a:off x="3011436" y="3990307"/>
            <a:ext cx="868812" cy="952602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>
            <a:stCxn id="11" idx="2"/>
            <a:endCxn id="10" idx="3"/>
          </p:cNvCxnSpPr>
          <p:nvPr/>
        </p:nvCxnSpPr>
        <p:spPr>
          <a:xfrm flipH="1">
            <a:off x="2963040" y="3370059"/>
            <a:ext cx="600848" cy="0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162738" y="5877272"/>
            <a:ext cx="872974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charset="0"/>
              <a:buChar char="•"/>
            </a:pP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пунктирной линией изображены экономическое взаимодействие при реализации инвестиционных проектов</a:t>
            </a:r>
          </a:p>
          <a:p>
            <a:pPr marL="285750" indent="-285750" algn="just">
              <a:buFont typeface="Arial" charset="0"/>
              <a:buChar char="•"/>
            </a:pP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ой линией изображено взаимодействие участников инвестиционной деятельности и координация согласно Схемы 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29336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6</TotalTime>
  <Words>2024</Words>
  <Application>Microsoft Office PowerPoint</Application>
  <PresentationFormat>Экран (4:3)</PresentationFormat>
  <Paragraphs>343</Paragraphs>
  <Slides>19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0" baseType="lpstr">
      <vt:lpstr>Тема Office</vt:lpstr>
      <vt:lpstr>Конкурс «Ежегодная общественная премия Регионы – устойчивое развитие»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</vt:vector>
  </TitlesOfParts>
  <Company>Grizli777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ханизмы реализации инвестиционных проектов с господержкой / госучастием в рамках исполнения</dc:title>
  <dc:creator>belichenko</dc:creator>
  <cp:lastModifiedBy>shenia</cp:lastModifiedBy>
  <cp:revision>114</cp:revision>
  <dcterms:created xsi:type="dcterms:W3CDTF">2014-11-17T08:55:10Z</dcterms:created>
  <dcterms:modified xsi:type="dcterms:W3CDTF">2015-02-10T13:34:46Z</dcterms:modified>
</cp:coreProperties>
</file>